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0" r:id="rId1"/>
  </p:sldMasterIdLst>
  <p:notesMasterIdLst>
    <p:notesMasterId r:id="rId3"/>
  </p:notesMasterIdLst>
  <p:sldIdLst>
    <p:sldId id="413" r:id="rId2"/>
  </p:sldIdLst>
  <p:sldSz cx="12192000" cy="6858000"/>
  <p:notesSz cx="6997700" cy="92837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F2F2F2"/>
    <a:srgbClr val="E41E2A"/>
    <a:srgbClr val="686868"/>
    <a:srgbClr val="7F7F7F"/>
    <a:srgbClr val="F5EFEF"/>
    <a:srgbClr val="BBB9C0"/>
    <a:srgbClr val="D3CBC8"/>
    <a:srgbClr val="A7A7A7"/>
    <a:srgbClr val="0086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66" autoAdjust="0"/>
    <p:restoredTop sz="93088" autoAdjust="0"/>
  </p:normalViewPr>
  <p:slideViewPr>
    <p:cSldViewPr snapToGrid="0">
      <p:cViewPr varScale="1">
        <p:scale>
          <a:sx n="67" d="100"/>
          <a:sy n="67" d="100"/>
        </p:scale>
        <p:origin x="168" y="78"/>
      </p:cViewPr>
      <p:guideLst>
        <p:guide orient="horz" pos="21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40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63744" y="0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/>
          <a:lstStyle>
            <a:lvl1pPr algn="r">
              <a:defRPr sz="1200"/>
            </a:lvl1pPr>
          </a:lstStyle>
          <a:p>
            <a:fld id="{8ECD6AFA-545B-413B-AF13-1E939FD12885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96913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31" tIns="46516" rIns="93031" bIns="4651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9770" y="4409758"/>
            <a:ext cx="5598160" cy="4177665"/>
          </a:xfrm>
          <a:prstGeom prst="rect">
            <a:avLst/>
          </a:prstGeom>
        </p:spPr>
        <p:txBody>
          <a:bodyPr vert="horz" lIns="93031" tIns="46516" rIns="93031" bIns="4651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63744" y="8817904"/>
            <a:ext cx="3032337" cy="464185"/>
          </a:xfrm>
          <a:prstGeom prst="rect">
            <a:avLst/>
          </a:prstGeom>
        </p:spPr>
        <p:txBody>
          <a:bodyPr vert="horz" lIns="93031" tIns="46516" rIns="93031" bIns="46516" rtlCol="0" anchor="b"/>
          <a:lstStyle>
            <a:lvl1pPr algn="r">
              <a:defRPr sz="1200"/>
            </a:lvl1pPr>
          </a:lstStyle>
          <a:p>
            <a:fld id="{50FFD521-80CD-4BCC-BC10-60F8927A29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571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84900" cy="34798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F5AC4-48E9-458A-82E3-1C1A98E7412D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99770" y="4467781"/>
            <a:ext cx="5598160" cy="3655457"/>
          </a:xfrm>
        </p:spPr>
        <p:txBody>
          <a:bodyPr/>
          <a:lstStyle/>
          <a:p>
            <a:endParaRPr lang="en-US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3953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1"/>
          <p:cNvSpPr>
            <a:spLocks noGrp="1"/>
          </p:cNvSpPr>
          <p:nvPr>
            <p:ph type="title"/>
          </p:nvPr>
        </p:nvSpPr>
        <p:spPr>
          <a:xfrm>
            <a:off x="2045648" y="228600"/>
            <a:ext cx="10146369" cy="366254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FFFFFF"/>
                </a:solidFill>
              </a:rPr>
              <a:pPr defTabSz="913044"/>
              <a:t>‹#›</a:t>
            </a:fld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7010400" y="6583225"/>
            <a:ext cx="99065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kern="0" dirty="0">
                <a:solidFill>
                  <a:srgbClr val="FFFFFF"/>
                </a:solidFill>
                <a:cs typeface="Arial"/>
              </a:rPr>
              <a:t>Classified - Internal us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-2076766" y="509693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000" y="6579491"/>
            <a:ext cx="512064" cy="120347"/>
          </a:xfrm>
          <a:prstGeom prst="rect">
            <a:avLst/>
          </a:prstGeom>
        </p:spPr>
      </p:pic>
      <p:sp>
        <p:nvSpPr>
          <p:cNvPr id="15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2041727" y="6583225"/>
            <a:ext cx="237404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FFFFFF"/>
                </a:solidFill>
              </a:rPr>
              <a:t>Collaborative Business Planning– North America Group</a:t>
            </a:r>
            <a:br>
              <a:rPr lang="en-US" sz="800" dirty="0">
                <a:solidFill>
                  <a:srgbClr val="FFFFFF"/>
                </a:solidFill>
              </a:rPr>
            </a:br>
            <a:endParaRPr lang="en-U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76820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98306"/>
            <a:ext cx="10972800" cy="366254"/>
          </a:xfr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347200" y="6356507"/>
            <a:ext cx="2844800" cy="365125"/>
          </a:xfrm>
          <a:prstGeom prst="rect">
            <a:avLst/>
          </a:prstGeom>
        </p:spPr>
        <p:txBody>
          <a:bodyPr/>
          <a:lstStyle/>
          <a:p>
            <a:fld id="{256F68F8-5C91-E448-B692-6FE37924FFB6}" type="slidenum">
              <a:rPr lang="en-US">
                <a:solidFill>
                  <a:srgbClr val="00206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2060">
                  <a:tint val="75000"/>
                </a:srgbClr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9600" y="806488"/>
            <a:ext cx="10972800" cy="0"/>
          </a:xfrm>
          <a:prstGeom prst="line">
            <a:avLst/>
          </a:prstGeom>
          <a:ln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354085" y="6449450"/>
            <a:ext cx="5021979" cy="428625"/>
          </a:xfrm>
        </p:spPr>
        <p:txBody>
          <a:bodyPr anchor="b" anchorCtr="0">
            <a:noAutofit/>
          </a:bodyPr>
          <a:lstStyle>
            <a:lvl1pPr>
              <a:lnSpc>
                <a:spcPct val="70000"/>
              </a:lnSpc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Add Source Info Here</a:t>
            </a:r>
          </a:p>
        </p:txBody>
      </p:sp>
    </p:spTree>
    <p:extLst>
      <p:ext uri="{BB962C8B-B14F-4D97-AF65-F5344CB8AC3E}">
        <p14:creationId xmlns:p14="http://schemas.microsoft.com/office/powerpoint/2010/main" val="26625335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508000" y="914407"/>
            <a:ext cx="11074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</a:rPr>
              <a:t> </a:t>
            </a:r>
          </a:p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4FDF7D73-AD4A-4CA4-B094-3A33C0AF759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62403"/>
            <a:ext cx="2743200" cy="365125"/>
          </a:xfrm>
          <a:prstGeom prst="rect">
            <a:avLst/>
          </a:prstGeom>
        </p:spPr>
        <p:txBody>
          <a:bodyPr/>
          <a:lstStyle/>
          <a:p>
            <a:fld id="{3F6FE59B-7E15-4240-AF67-16ADDD273452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1F36AE2C-7130-49F7-AF0D-68669D06DD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6240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9A0FFF3-9E1D-4AB1-934A-958FBB331004}"/>
              </a:ext>
            </a:extLst>
          </p:cNvPr>
          <p:cNvSpPr/>
          <p:nvPr userDrawn="1"/>
        </p:nvSpPr>
        <p:spPr>
          <a:xfrm>
            <a:off x="-11168" y="6324600"/>
            <a:ext cx="12203168" cy="539453"/>
          </a:xfrm>
          <a:prstGeom prst="rect">
            <a:avLst/>
          </a:prstGeom>
          <a:solidFill>
            <a:srgbClr val="E51E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8" rIns="91429" bIns="45718" rtlCol="0" anchor="ctr"/>
          <a:lstStyle/>
          <a:p>
            <a:pPr algn="ctr" defTabSz="1462861"/>
            <a:endParaRPr lang="en-US" sz="2900" dirty="0">
              <a:solidFill>
                <a:srgbClr val="FFFFFF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D3CF61D-FF0A-4CB6-BE48-2FA94548EE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1494" y="6411445"/>
            <a:ext cx="1777114" cy="403861"/>
          </a:xfrm>
          <a:prstGeom prst="rect">
            <a:avLst/>
          </a:prstGeom>
        </p:spPr>
      </p:pic>
      <p:sp>
        <p:nvSpPr>
          <p:cNvPr id="20" name="TPandFilters">
            <a:extLst>
              <a:ext uri="{FF2B5EF4-FFF2-40B4-BE49-F238E27FC236}">
                <a16:creationId xmlns:a16="http://schemas.microsoft.com/office/drawing/2014/main" id="{253FFCDE-1397-461B-8B6F-33C9D65FDB2E}"/>
              </a:ext>
            </a:extLst>
          </p:cNvPr>
          <p:cNvSpPr txBox="1">
            <a:spLocks/>
          </p:cNvSpPr>
          <p:nvPr userDrawn="1"/>
        </p:nvSpPr>
        <p:spPr>
          <a:xfrm>
            <a:off x="685799" y="6337663"/>
            <a:ext cx="5950131" cy="35052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ource:  </a:t>
            </a:r>
            <a:r>
              <a:rPr lang="en-US" sz="800" dirty="0" err="1">
                <a:latin typeface="Century Gothic" panose="020B0502020202020204" pitchFamily="34" charset="0"/>
              </a:rPr>
              <a:t>iSHOP</a:t>
            </a:r>
            <a:r>
              <a:rPr lang="en-US" sz="800" dirty="0">
                <a:latin typeface="Century Gothic" panose="020B0502020202020204" pitchFamily="34" charset="0"/>
              </a:rPr>
              <a:t>, </a:t>
            </a:r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Time Period : JUN 2018 12MMT ; </a:t>
            </a:r>
            <a:r>
              <a:rPr lang="en-IN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Base</a:t>
            </a:r>
            <a:r>
              <a:rPr lang="en-US" sz="800" b="0" kern="1200" dirty="0">
                <a:solidFill>
                  <a:prstClr val="white"/>
                </a:solidFill>
                <a:latin typeface="Franklin Gothic Book" panose="020B0503020102020204" pitchFamily="34" charset="0"/>
                <a:cs typeface="Arial" pitchFamily="34" charset="0"/>
              </a:rPr>
              <a:t> : Monthly+ Grocery Shoppers, Supermarket Visits,</a:t>
            </a:r>
          </a:p>
          <a:p>
            <a:r>
              <a:rPr lang="en-IN" sz="800" dirty="0">
                <a:solidFill>
                  <a:prstClr val="white"/>
                </a:solidFill>
                <a:latin typeface="Franklin Gothic Book" panose="020B0503020102020204" pitchFamily="34" charset="0"/>
                <a:ea typeface="Segoe UI" pitchFamily="34" charset="0"/>
                <a:cs typeface="Arial" pitchFamily="34" charset="0"/>
              </a:rPr>
              <a:t>Filters: 25-34, 35-49, 50-64</a:t>
            </a:r>
            <a:endParaRPr lang="en-US" sz="800" b="0" kern="1200" dirty="0">
              <a:solidFill>
                <a:prstClr val="white"/>
              </a:solidFill>
              <a:latin typeface="Franklin Gothic Book" panose="020B0503020102020204" pitchFamily="34" charset="0"/>
              <a:cs typeface="Arial" pitchFamily="34" charset="0"/>
            </a:endParaRP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5A4386F8-334F-4C04-BBF7-B49A6FFF6CD4}"/>
              </a:ext>
            </a:extLst>
          </p:cNvPr>
          <p:cNvSpPr txBox="1">
            <a:spLocks/>
          </p:cNvSpPr>
          <p:nvPr userDrawn="1"/>
        </p:nvSpPr>
        <p:spPr>
          <a:xfrm>
            <a:off x="672737" y="6605452"/>
            <a:ext cx="6812280" cy="304800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latin typeface="Century Gothic" panose="020B0502020202020204" pitchFamily="34" charset="0"/>
              </a:rPr>
              <a:t>Sample size</a:t>
            </a:r>
            <a:r>
              <a:rPr lang="en-US" sz="800" baseline="0" dirty="0">
                <a:latin typeface="Century Gothic" panose="020B0502020202020204" pitchFamily="34" charset="0"/>
              </a:rPr>
              <a:t> in the table to the top right;  Grey font = Low Sample (30-99), Blank = Sample &lt; 30, </a:t>
            </a:r>
            <a:r>
              <a:rPr lang="en-US" sz="800" baseline="0" dirty="0">
                <a:effectLst/>
                <a:latin typeface="Century Gothic" panose="020B0502020202020204" pitchFamily="34" charset="0"/>
              </a:rPr>
              <a:t>NA = Not Applicable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B03BE5F8-7274-4176-8879-4783A7E05343}"/>
              </a:ext>
            </a:extLst>
          </p:cNvPr>
          <p:cNvSpPr txBox="1">
            <a:spLocks/>
          </p:cNvSpPr>
          <p:nvPr userDrawn="1"/>
        </p:nvSpPr>
        <p:spPr>
          <a:xfrm>
            <a:off x="7555428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Higher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80428860-401A-4A74-802C-9A3ADE8966F1}"/>
              </a:ext>
            </a:extLst>
          </p:cNvPr>
          <p:cNvSpPr txBox="1">
            <a:spLocks/>
          </p:cNvSpPr>
          <p:nvPr userDrawn="1"/>
        </p:nvSpPr>
        <p:spPr>
          <a:xfrm>
            <a:off x="8728247" y="6563154"/>
            <a:ext cx="1097280" cy="187325"/>
          </a:xfrm>
          <a:prstGeom prst="rect">
            <a:avLst/>
          </a:prstGeom>
        </p:spPr>
        <p:txBody>
          <a:bodyPr anchor="ctr" anchorCtr="0"/>
          <a:lstStyle>
            <a:lvl1pPr marL="0" indent="0" algn="l" defTabSz="1306220" rtl="0" eaLnBrk="1" latinLnBrk="0" hangingPunct="1">
              <a:spcBef>
                <a:spcPct val="20000"/>
              </a:spcBef>
              <a:buClr>
                <a:srgbClr val="E51E2B"/>
              </a:buClr>
              <a:buFont typeface="Arial" panose="020B0604020202020204" pitchFamily="34" charset="0"/>
              <a:buNone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400" indent="-261938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3277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588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99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ignificantly Lower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E6DF1199-A019-45B0-B3F4-E546037B3BFA}"/>
              </a:ext>
            </a:extLst>
          </p:cNvPr>
          <p:cNvSpPr/>
          <p:nvPr userDrawn="1"/>
        </p:nvSpPr>
        <p:spPr>
          <a:xfrm>
            <a:off x="7464152" y="6585657"/>
            <a:ext cx="137160" cy="137160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CD616216-4E4B-413B-960E-90FEB8FE17C4}"/>
              </a:ext>
            </a:extLst>
          </p:cNvPr>
          <p:cNvSpPr/>
          <p:nvPr userDrawn="1"/>
        </p:nvSpPr>
        <p:spPr>
          <a:xfrm>
            <a:off x="8636807" y="6585657"/>
            <a:ext cx="137160" cy="137160"/>
          </a:xfrm>
          <a:prstGeom prst="ellipse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4868B49A-9383-49A3-B789-1981B325FB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8608" y="6472377"/>
            <a:ext cx="623392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F825B6-5D56-4C6B-9BBC-B1361DD2850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0" name="Picture 39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3D4B7654-9A02-4CE8-80CC-2D1A725B34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40" y="6327123"/>
            <a:ext cx="594881" cy="517546"/>
          </a:xfrm>
          <a:prstGeom prst="rect">
            <a:avLst/>
          </a:prstGeom>
        </p:spPr>
      </p:pic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962077B-8AF5-4F08-9F71-3A8288BC5373}"/>
              </a:ext>
            </a:extLst>
          </p:cNvPr>
          <p:cNvCxnSpPr/>
          <p:nvPr userDrawn="1"/>
        </p:nvCxnSpPr>
        <p:spPr>
          <a:xfrm flipH="1">
            <a:off x="685800" y="6357058"/>
            <a:ext cx="0" cy="452195"/>
          </a:xfrm>
          <a:prstGeom prst="line">
            <a:avLst/>
          </a:prstGeom>
          <a:noFill/>
          <a:ln w="6350" cap="flat" cmpd="sng" algn="ctr">
            <a:solidFill>
              <a:srgbClr val="FFFFFF">
                <a:alpha val="43137"/>
              </a:srgb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99314693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3662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2"/>
            <a:ext cx="8534400" cy="2769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>
          <a:xfrm>
            <a:off x="9245600" y="6367566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02A5ED-1FEA-4F40-B96F-E2ABA26D432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068530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ept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799" y="499000"/>
            <a:ext cx="11586633" cy="418576"/>
          </a:xfrm>
        </p:spPr>
        <p:txBody>
          <a:bodyPr anchor="b"/>
          <a:lstStyle>
            <a:lvl1pPr>
              <a:defRPr sz="3200">
                <a:solidFill>
                  <a:srgbClr val="52525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04803" y="6577205"/>
            <a:ext cx="11642316" cy="169277"/>
          </a:xfrm>
        </p:spPr>
        <p:txBody>
          <a:bodyPr anchor="b"/>
          <a:lstStyle>
            <a:lvl1pPr marL="0" indent="0" algn="r">
              <a:buNone/>
              <a:defRPr sz="1100" baseline="0">
                <a:solidFill>
                  <a:schemeClr val="bg2">
                    <a:lumMod val="60000"/>
                    <a:lumOff val="4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53369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52322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4099128"/>
            <a:ext cx="10363200" cy="30777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3B949F3D-92C3-4D1B-8818-003BE30A9C72}" type="datetimeFigureOut">
              <a:rPr lang="en-US">
                <a:solidFill>
                  <a:srgbClr val="000000"/>
                </a:solidFill>
              </a:rPr>
              <a:pPr/>
              <a:t>10/22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937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937"/>
            <a:ext cx="2844800" cy="365125"/>
          </a:xfrm>
          <a:prstGeom prst="rect">
            <a:avLst/>
          </a:prstGeom>
        </p:spPr>
        <p:txBody>
          <a:bodyPr/>
          <a:lstStyle/>
          <a:p>
            <a:fld id="{0E4838EE-3B9A-4638-9588-7052AD437DB8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3189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Blank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nner_gray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55" y="150443"/>
            <a:ext cx="11780137" cy="1364871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23111" y="512117"/>
            <a:ext cx="10363200" cy="366254"/>
          </a:xfrm>
          <a:prstGeom prst="rect">
            <a:avLst/>
          </a:prstGeom>
        </p:spPr>
        <p:txBody>
          <a:bodyPr anchor="ctr" anchorCtr="0"/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677" y="6389200"/>
            <a:ext cx="823323" cy="453750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solidFill>
                  <a:schemeClr val="accent6">
                    <a:alpha val="50000"/>
                  </a:schemeClr>
                </a:solidFill>
              </a:defRPr>
            </a:lvl1pPr>
          </a:lstStyle>
          <a:p>
            <a:fld id="{60121F6C-536B-2F4E-9E66-2923FD07E3C5}" type="slidenum">
              <a:rPr lang="en-US">
                <a:solidFill>
                  <a:srgbClr val="5F6F74">
                    <a:alpha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F6F74">
                  <a:alpha val="50000"/>
                </a:srgbClr>
              </a:solidFill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322917" y="1477964"/>
            <a:ext cx="10107083" cy="2421176"/>
          </a:xfrm>
          <a:prstGeom prst="rect">
            <a:avLst/>
          </a:prstGeom>
        </p:spPr>
        <p:txBody>
          <a:bodyPr vert="horz"/>
          <a:lstStyle>
            <a:lvl1pPr marL="287338" indent="-287338">
              <a:spcBef>
                <a:spcPts val="600"/>
              </a:spcBef>
              <a:buClr>
                <a:srgbClr val="C00000"/>
              </a:buClr>
              <a:buFont typeface="Wingdings" pitchFamily="2" charset="2"/>
              <a:buChar char="§"/>
              <a:defRPr sz="2400">
                <a:solidFill>
                  <a:srgbClr val="5F5F5F"/>
                </a:solidFill>
              </a:defRPr>
            </a:lvl1pPr>
            <a:lvl2pPr marL="576263" indent="-288925">
              <a:spcBef>
                <a:spcPts val="300"/>
              </a:spcBef>
              <a:buClr>
                <a:srgbClr val="C00000"/>
              </a:buClr>
              <a:buFont typeface="Courier New" pitchFamily="49" charset="0"/>
              <a:buChar char="-"/>
              <a:defRPr sz="2000">
                <a:solidFill>
                  <a:srgbClr val="5F5F5F"/>
                </a:solidFill>
              </a:defRPr>
            </a:lvl2pPr>
            <a:lvl3pPr marL="804863" indent="-228600">
              <a:spcBef>
                <a:spcPts val="300"/>
              </a:spcBef>
              <a:buFont typeface="Arial" pitchFamily="34" charset="0"/>
              <a:buChar char="•"/>
              <a:defRPr sz="1800">
                <a:solidFill>
                  <a:srgbClr val="5F5F5F"/>
                </a:solidFill>
              </a:defRPr>
            </a:lvl3pPr>
            <a:lvl4pPr marL="1033463" indent="-228600">
              <a:spcBef>
                <a:spcPts val="300"/>
              </a:spcBef>
              <a:buFont typeface="Lucida Grande"/>
              <a:buChar char="-"/>
              <a:defRPr sz="1600">
                <a:solidFill>
                  <a:srgbClr val="5F5F5F"/>
                </a:solidFill>
              </a:defRPr>
            </a:lvl4pPr>
            <a:lvl5pPr marL="1262063" indent="-228600">
              <a:spcBef>
                <a:spcPts val="300"/>
              </a:spcBef>
              <a:defRPr sz="1600">
                <a:solidFill>
                  <a:srgbClr val="5F5F5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9075116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5718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91462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 bwMode="gray">
          <a:xfrm>
            <a:off x="11785600" y="6583225"/>
            <a:ext cx="10259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80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3044"/>
            <a:fld id="{42C328C1-A84F-4A39-A664-DBA00541A8C6}" type="slidenum">
              <a:rPr lang="en-IN" smtClean="0">
                <a:solidFill>
                  <a:srgbClr val="808080"/>
                </a:solidFill>
              </a:rPr>
              <a:pPr defTabSz="913044"/>
              <a:t>‹#›</a:t>
            </a:fld>
            <a:endParaRPr lang="en-IN" dirty="0">
              <a:solidFill>
                <a:srgbClr val="80808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508000" y="6324600"/>
            <a:ext cx="11277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117600" y="6583225"/>
            <a:ext cx="241732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              Collaborative Business Planning– North America</a:t>
            </a:r>
            <a:br>
              <a:rPr lang="en-US" sz="800" dirty="0">
                <a:solidFill>
                  <a:srgbClr val="808080"/>
                </a:solidFill>
              </a:rPr>
            </a:b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996510" y="6583225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808080"/>
                </a:solidFill>
              </a:rPr>
              <a:t> Classified - Internal us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65" y="6581381"/>
            <a:ext cx="501527" cy="117870"/>
          </a:xfrm>
          <a:prstGeom prst="rect">
            <a:avLst/>
          </a:prstGeom>
        </p:spPr>
      </p:pic>
      <p:sp>
        <p:nvSpPr>
          <p:cNvPr id="9" name="Rounded Rectangle 8"/>
          <p:cNvSpPr/>
          <p:nvPr userDrawn="1"/>
        </p:nvSpPr>
        <p:spPr>
          <a:xfrm>
            <a:off x="-406400" y="160876"/>
            <a:ext cx="12903200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03204" y="301530"/>
            <a:ext cx="10749281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endParaRPr lang="en-US" sz="2200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09609" y="288376"/>
            <a:ext cx="5245663" cy="366254"/>
          </a:xfrm>
        </p:spPr>
        <p:txBody>
          <a:bodyPr/>
          <a:lstStyle>
            <a:lvl1pPr>
              <a:defRPr sz="2800" b="1" i="0" baseline="0">
                <a:solidFill>
                  <a:schemeClr val="bg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42973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93677231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3" name="think-cell Slide" r:id="rId29" imgW="360" imgH="360" progId="">
                  <p:embed/>
                </p:oleObj>
              </mc:Choice>
              <mc:Fallback>
                <p:oleObj name="think-cell Slide" r:id="rId2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31619" y="1981465"/>
            <a:ext cx="193161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Last Modified 2/25/2013 9:31 PM Central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30941" y="4199435"/>
            <a:ext cx="17328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044"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 1/28/2013 3:31 PM Easter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475540" y="1439512"/>
            <a:ext cx="11488837" cy="2205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5536" y="206302"/>
            <a:ext cx="11492299" cy="366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161987" y="27536"/>
            <a:ext cx="71814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044"/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62059" y="543221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ACET" hidden="1"/>
          <p:cNvGrpSpPr>
            <a:grpSpLocks/>
          </p:cNvGrpSpPr>
          <p:nvPr/>
        </p:nvGrpSpPr>
        <p:grpSpPr bwMode="gray">
          <a:xfrm>
            <a:off x="1976224" y="1340118"/>
            <a:ext cx="5801189" cy="571771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044"/>
              <a:r>
                <a:rPr lang="en-US" sz="18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044"/>
              <a:r>
                <a:rPr lang="en-US" sz="18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4" name="McK Slide Elements" hidden="1"/>
          <p:cNvGrpSpPr>
            <a:grpSpLocks/>
          </p:cNvGrpSpPr>
          <p:nvPr/>
        </p:nvGrpSpPr>
        <p:grpSpPr bwMode="gray">
          <a:xfrm>
            <a:off x="162015" y="6014694"/>
            <a:ext cx="11729804" cy="362823"/>
            <a:chOff x="75" y="3926"/>
            <a:chExt cx="5385" cy="224"/>
          </a:xfrm>
        </p:grpSpPr>
        <p:sp>
          <p:nvSpPr>
            <p:cNvPr id="24" name="McK 4. Footnote"/>
            <p:cNvSpPr txBox="1">
              <a:spLocks noChangeArrowheads="1"/>
            </p:cNvSpPr>
            <p:nvPr/>
          </p:nvSpPr>
          <p:spPr bwMode="gray">
            <a:xfrm>
              <a:off x="75" y="3926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5" name="McK 5. Source"/>
            <p:cNvSpPr>
              <a:spLocks noChangeArrowheads="1"/>
            </p:cNvSpPr>
            <p:nvPr/>
          </p:nvSpPr>
          <p:spPr bwMode="gray">
            <a:xfrm>
              <a:off x="75" y="405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18557" indent="-618557" defTabSz="908501">
                <a:tabLst>
                  <a:tab pos="621776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5" name="LegendBoxes" hidden="1"/>
          <p:cNvGrpSpPr>
            <a:grpSpLocks/>
          </p:cNvGrpSpPr>
          <p:nvPr/>
        </p:nvGrpSpPr>
        <p:grpSpPr bwMode="gray">
          <a:xfrm>
            <a:off x="10860005" y="279466"/>
            <a:ext cx="829359" cy="1013961"/>
            <a:chOff x="4936" y="176"/>
            <a:chExt cx="384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LegendLines" hidden="1"/>
          <p:cNvGrpSpPr>
            <a:grpSpLocks/>
          </p:cNvGrpSpPr>
          <p:nvPr/>
        </p:nvGrpSpPr>
        <p:grpSpPr bwMode="gray">
          <a:xfrm>
            <a:off x="10441073" y="285077"/>
            <a:ext cx="1248359" cy="741844"/>
            <a:chOff x="4750" y="176"/>
            <a:chExt cx="578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044"/>
              <a:endParaRPr lang="en-US" sz="18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24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" name="McKSticker" hidden="1"/>
          <p:cNvGrpSpPr/>
          <p:nvPr/>
        </p:nvGrpSpPr>
        <p:grpSpPr bwMode="gray">
          <a:xfrm>
            <a:off x="10937516" y="291555"/>
            <a:ext cx="955839" cy="212366"/>
            <a:chOff x="8038209" y="285750"/>
            <a:chExt cx="702566" cy="208137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gray">
            <a:xfrm>
              <a:off x="8038209" y="285750"/>
              <a:ext cx="702566" cy="2081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gray">
            <a:xfrm>
              <a:off x="8038209" y="285750"/>
              <a:ext cx="0" cy="20813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gray">
            <a:xfrm>
              <a:off x="8038209" y="493887"/>
              <a:ext cx="70256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" name="LegendMoons" hidden="1"/>
          <p:cNvGrpSpPr/>
          <p:nvPr/>
        </p:nvGrpSpPr>
        <p:grpSpPr bwMode="gray">
          <a:xfrm>
            <a:off x="10769294" y="279402"/>
            <a:ext cx="920385" cy="1333054"/>
            <a:chOff x="6655594" y="273840"/>
            <a:chExt cx="676508" cy="1306516"/>
          </a:xfrm>
        </p:grpSpPr>
        <p:grpSp>
          <p:nvGrpSpPr>
            <p:cNvPr id="9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2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3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4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6976270" y="28654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6976270" y="561178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6976270" y="835817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gray">
            <a:xfrm>
              <a:off x="6976270" y="1107280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gray">
            <a:xfrm>
              <a:off x="6976270" y="1383505"/>
              <a:ext cx="3558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501">
                <a:buClr>
                  <a:srgbClr val="CC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5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044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7" name="doc id"/>
          <p:cNvSpPr>
            <a:spLocks noChangeArrowheads="1"/>
          </p:cNvSpPr>
          <p:nvPr/>
        </p:nvSpPr>
        <p:spPr bwMode="gray">
          <a:xfrm>
            <a:off x="109958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501"/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605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</p:sldLayoutIdLst>
  <p:transition>
    <p:fade/>
  </p:transition>
  <p:hf hdr="0" dt="0"/>
  <p:txStyles>
    <p:titleStyle>
      <a:lvl1pPr algn="l" defTabSz="908501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273839" algn="l"/>
        </a:tabLst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388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7831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1749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5665" algn="l" defTabSz="9085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defRPr sz="18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6521" indent="-194912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5000"/>
        <a:buFont typeface="Arial" charset="0"/>
        <a:buChar char="▪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63881" indent="-2657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–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23389" indent="-157866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120000"/>
        <a:buFont typeface="Arial" charset="0"/>
        <a:buChar char="▫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60824" indent="-132087" algn="l" defTabSz="908501" rtl="0" eaLnBrk="1" fontAlgn="base" hangingPunct="1">
        <a:spcBef>
          <a:spcPct val="0"/>
        </a:spcBef>
        <a:spcAft>
          <a:spcPts val="160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0824" indent="-132087" algn="l" defTabSz="9085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88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7831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174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566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9584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3499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47418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1335" algn="l" defTabSz="9278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304794" y="3712"/>
            <a:ext cx="11887205" cy="685800"/>
          </a:xfrm>
          <a:prstGeom prst="roundRect">
            <a:avLst>
              <a:gd name="adj" fmla="val 32090"/>
            </a:avLst>
          </a:prstGeom>
          <a:gradFill flip="none" rotWithShape="1">
            <a:gsLst>
              <a:gs pos="0">
                <a:srgbClr val="CC0000"/>
              </a:gs>
              <a:gs pos="38000">
                <a:srgbClr val="CC0000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761998" y="144366"/>
            <a:ext cx="9902885" cy="404492"/>
          </a:xfrm>
          <a:prstGeom prst="rect">
            <a:avLst/>
          </a:prstGeom>
        </p:spPr>
        <p:txBody>
          <a:bodyPr anchor="b"/>
          <a:lstStyle>
            <a:lvl1pPr algn="l" defTabSz="90850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73839" algn="l"/>
              </a:tabLst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388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7831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1749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55665" algn="l" defTabSz="908501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200" dirty="0">
                <a:solidFill>
                  <a:srgbClr val="FFFFFF"/>
                </a:solidFill>
              </a:rPr>
              <a:t>Shopper On A Page: Club Foods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304794" y="747710"/>
            <a:ext cx="11493842" cy="5261610"/>
          </a:xfrm>
          <a:prstGeom prst="rect">
            <a:avLst/>
          </a:prstGeom>
          <a:solidFill>
            <a:schemeClr val="bg1"/>
          </a:solidFill>
          <a:ln w="9525">
            <a:solidFill>
              <a:srgbClr val="AFC1C3"/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182880" tIns="32004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7F7F7F"/>
              </a:solidFill>
              <a:ea typeface="ＭＳ Ｐゴシック" charset="0"/>
              <a:cs typeface="ＭＳ Ｐゴシック" charset="0"/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4914731"/>
              </p:ext>
            </p:extLst>
          </p:nvPr>
        </p:nvGraphicFramePr>
        <p:xfrm>
          <a:off x="411885" y="768555"/>
          <a:ext cx="11394434" cy="5205454"/>
        </p:xfrm>
        <a:graphic>
          <a:graphicData uri="http://schemas.openxmlformats.org/drawingml/2006/table">
            <a:tbl>
              <a:tblPr/>
              <a:tblGrid>
                <a:gridCol w="38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699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214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22144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06057">
                <a:tc rowSpan="2" grid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Club Food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IMARY SHOPPER GROUP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0269">
                <a:tc gridSpan="2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ruggling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iddle Clas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320">
                <a:tc rowSpan="5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STAT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Monthly+ Shopper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NA</a:t>
                      </a:r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NA</a:t>
                      </a:r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320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Trip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2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6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3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hare of Total Dollar Spend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19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35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4320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Share of Total NARTD Bev Trips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4320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Candara" panose="020E0502030303020204" pitchFamily="34" charset="0"/>
                        </a:rPr>
                        <a:t>NARTD Beverage Trip Conversion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 [1]</a:t>
                      </a:r>
                      <a:endParaRPr lang="en-US" sz="1000" b="0" i="0" u="none" strike="noStrike" dirty="0">
                        <a:solidFill>
                          <a:srgbClr val="40404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1241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4320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ORS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Largest Trip Mission (% of Group’s Trips)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6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rab &amp; Go Home (32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4320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nique Trip Mission (% of Group’s Trips)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eed It Now (9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No Skew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640537">
                <a:tc v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Motivations for Visit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Beverage to Drink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Meal/Snack to Eat No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ake Time Browse For Interesting Item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Buy Fuel For Car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Use Pharmacy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Take Advantage of Good Coupon Polic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84776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034615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ROFILE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Key Monthly+ Demographic &amp; Behavioral Skews [1]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ge 19-34, 25-34, 3, 4, 5+ people in the HH, AA, Hispanic, Rural, Social Shoppers, Errand Runner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ender: No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Age: 65-75, 25-34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ace/Ethnicity: Np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HH Size: 2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Density: No Skew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Pleasure Shopper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87456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4320">
                <a:tc rowSpan="3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Imagery</a:t>
                      </a:r>
                    </a:p>
                  </a:txBody>
                  <a:tcPr marL="0" marR="0" marT="0" marB="0" vert="vert27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RTE/Heat Food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NA</a:t>
                      </a:r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NA</a:t>
                      </a:r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43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Carbonated Soft Drink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N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NA</a:t>
                      </a:r>
                      <a:endParaRPr lang="en-US" sz="1000" dirty="0"/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8B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743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Good place to shop for 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ＭＳ Ｐゴシック" charset="0"/>
                          <a:cs typeface="ＭＳ Ｐゴシック" charset="0"/>
                        </a:rPr>
                        <a:t>Still Non-Alcoholic Beverages</a:t>
                      </a:r>
                    </a:p>
                  </a:txBody>
                  <a:tcPr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N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N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9B9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11" name="TextBox 22"/>
          <p:cNvSpPr txBox="1"/>
          <p:nvPr/>
        </p:nvSpPr>
        <p:spPr>
          <a:xfrm>
            <a:off x="7554608" y="6074037"/>
            <a:ext cx="447007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ea typeface="ＭＳ Ｐゴシック" charset="0"/>
                <a:cs typeface="ＭＳ Ｐゴシック" charset="0"/>
              </a:rPr>
              <a:t>[1] Stat Test vs Total Trips to Urban-Club Foods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52623236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12_USE THIS">
  <a:themeElements>
    <a:clrScheme name="Custom 1">
      <a:dk1>
        <a:srgbClr val="000000"/>
      </a:dk1>
      <a:lt1>
        <a:srgbClr val="FFFFFF"/>
      </a:lt1>
      <a:dk2>
        <a:srgbClr val="CC0000"/>
      </a:dk2>
      <a:lt2>
        <a:srgbClr val="FFFFFF"/>
      </a:lt2>
      <a:accent1>
        <a:srgbClr val="DDDDDD"/>
      </a:accent1>
      <a:accent2>
        <a:srgbClr val="808080"/>
      </a:accent2>
      <a:accent3>
        <a:srgbClr val="CC3300"/>
      </a:accent3>
      <a:accent4>
        <a:srgbClr val="CC0000"/>
      </a:accent4>
      <a:accent5>
        <a:srgbClr val="FF6600"/>
      </a:accent5>
      <a:accent6>
        <a:srgbClr val="808080"/>
      </a:accent6>
      <a:hlink>
        <a:srgbClr val="CC3300"/>
      </a:hlink>
      <a:folHlink>
        <a:srgbClr val="CC0000"/>
      </a:folHlink>
    </a:clrScheme>
    <a:fontScheme name="Custom 2">
      <a:majorFont>
        <a:latin typeface="Candara"/>
        <a:ea typeface="ＭＳ Ｐゴシック"/>
        <a:cs typeface=""/>
      </a:majorFont>
      <a:minorFont>
        <a:latin typeface="Candar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CC0000"/>
        </a:dk2>
        <a:lt2>
          <a:srgbClr val="FFFFFF"/>
        </a:lt2>
        <a:accent1>
          <a:srgbClr val="DDDDDD"/>
        </a:accent1>
        <a:accent2>
          <a:srgbClr val="808080"/>
        </a:accent2>
        <a:accent3>
          <a:srgbClr val="CC330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133</TotalTime>
  <Words>244</Words>
  <Application>Microsoft Office PowerPoint</Application>
  <PresentationFormat>Widescreen</PresentationFormat>
  <Paragraphs>5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ＭＳ Ｐゴシック</vt:lpstr>
      <vt:lpstr>Arial</vt:lpstr>
      <vt:lpstr>Calibri</vt:lpstr>
      <vt:lpstr>Candara</vt:lpstr>
      <vt:lpstr>Century Gothic</vt:lpstr>
      <vt:lpstr>Courier New</vt:lpstr>
      <vt:lpstr>Franklin Gothic Book</vt:lpstr>
      <vt:lpstr>Lucida Grande</vt:lpstr>
      <vt:lpstr>Segoe UI</vt:lpstr>
      <vt:lpstr>Wingdings</vt:lpstr>
      <vt:lpstr>12_USE THIS</vt:lpstr>
      <vt:lpstr>think-cell Slide</vt:lpstr>
      <vt:lpstr>PowerPoint Presentation</vt:lpstr>
    </vt:vector>
  </TitlesOfParts>
  <Company>Coca-Col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k Rajewski</dc:creator>
  <cp:lastModifiedBy>Nagaraju Duddela</cp:lastModifiedBy>
  <cp:revision>425</cp:revision>
  <cp:lastPrinted>2015-12-04T15:56:47Z</cp:lastPrinted>
  <dcterms:created xsi:type="dcterms:W3CDTF">2014-05-21T13:43:49Z</dcterms:created>
  <dcterms:modified xsi:type="dcterms:W3CDTF">2018-10-22T09:50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ATIntVersion">
    <vt:i4>15</vt:i4>
  </property>
  <property fmtid="{D5CDD505-2E9C-101B-9397-08002B2CF9AE}" pid="3" name="FILEGUID">
    <vt:lpwstr>53e986c9-1f02-4f83-b94f-6892fe8c78ce</vt:lpwstr>
  </property>
  <property fmtid="{D5CDD505-2E9C-101B-9397-08002B2CF9AE}" pid="4" name="MODFILEGUID">
    <vt:lpwstr>7ce0bd96-47d2-4213-9be5-8ca796d8f2aa</vt:lpwstr>
  </property>
  <property fmtid="{D5CDD505-2E9C-101B-9397-08002B2CF9AE}" pid="5" name="FILEOWNER">
    <vt:lpwstr>T32273</vt:lpwstr>
  </property>
  <property fmtid="{D5CDD505-2E9C-101B-9397-08002B2CF9AE}" pid="6" name="MODFILEOWNER">
    <vt:lpwstr>A64841</vt:lpwstr>
  </property>
  <property fmtid="{D5CDD505-2E9C-101B-9397-08002B2CF9AE}" pid="7" name="IPPCLASS">
    <vt:i4>1</vt:i4>
  </property>
  <property fmtid="{D5CDD505-2E9C-101B-9397-08002B2CF9AE}" pid="8" name="MODIPPCLASS">
    <vt:i4>1</vt:i4>
  </property>
  <property fmtid="{D5CDD505-2E9C-101B-9397-08002B2CF9AE}" pid="9" name="MACHINEID">
    <vt:lpwstr>WPEL260391</vt:lpwstr>
  </property>
  <property fmtid="{D5CDD505-2E9C-101B-9397-08002B2CF9AE}" pid="10" name="MODMACHINEID">
    <vt:lpwstr>O46130-0608</vt:lpwstr>
  </property>
  <property fmtid="{D5CDD505-2E9C-101B-9397-08002B2CF9AE}" pid="11" name="CURRENTCLASS">
    <vt:lpwstr>Classified - No Category</vt:lpwstr>
  </property>
</Properties>
</file>